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776" r:id="rId2"/>
    <p:sldId id="754" r:id="rId3"/>
    <p:sldId id="764" r:id="rId4"/>
    <p:sldId id="770" r:id="rId5"/>
    <p:sldId id="763" r:id="rId6"/>
    <p:sldId id="775" r:id="rId7"/>
    <p:sldId id="747" r:id="rId8"/>
  </p:sldIdLst>
  <p:sldSz cx="8961438" cy="6721475"/>
  <p:notesSz cx="7010400" cy="9296400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8" userDrawn="1">
          <p15:clr>
            <a:srgbClr val="A4A3A4"/>
          </p15:clr>
        </p15:guide>
        <p15:guide id="2" pos="2232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  <p15:guide id="4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irby, Marjorie" initials="KM" lastIdx="4" clrIdx="0"/>
  <p:cmAuthor id="1" name="CJ Jain" initials="CJ" lastIdx="1" clrIdx="1">
    <p:extLst>
      <p:ext uri="{19B8F6BF-5375-455C-9EA6-DF929625EA0E}">
        <p15:presenceInfo xmlns:p15="http://schemas.microsoft.com/office/powerpoint/2012/main" userId="S-1-5-21-602162358-1897051121-1417001333-3855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FFE885"/>
    <a:srgbClr val="C89800"/>
    <a:srgbClr val="0099FF"/>
    <a:srgbClr val="C1F8AE"/>
    <a:srgbClr val="99CC00"/>
    <a:srgbClr val="FF6600"/>
    <a:srgbClr val="FFE0D9"/>
    <a:srgbClr val="0065CC"/>
    <a:srgbClr val="D7E4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58228" autoAdjust="0"/>
  </p:normalViewPr>
  <p:slideViewPr>
    <p:cSldViewPr snapToGrid="0" snapToObjects="1">
      <p:cViewPr varScale="1">
        <p:scale>
          <a:sx n="38" d="100"/>
          <a:sy n="38" d="100"/>
        </p:scale>
        <p:origin x="422" y="53"/>
      </p:cViewPr>
      <p:guideLst>
        <p:guide orient="horz"/>
        <p:guide pos="5644"/>
      </p:guideLst>
    </p:cSldViewPr>
  </p:slideViewPr>
  <p:outlineViewPr>
    <p:cViewPr>
      <p:scale>
        <a:sx n="33" d="100"/>
        <a:sy n="33" d="100"/>
      </p:scale>
      <p:origin x="36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-3222" y="-96"/>
      </p:cViewPr>
      <p:guideLst>
        <p:guide orient="horz" pos="2948"/>
        <p:guide pos="2232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1050" y="582613"/>
            <a:ext cx="5454650" cy="4090987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6835" y="4995326"/>
            <a:ext cx="6043334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40556" y="8927218"/>
            <a:ext cx="189613" cy="185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30105" y="958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uilding an Innovation Incubator Accountability Platform includes upfront pre incubator </a:t>
            </a:r>
          </a:p>
          <a:p>
            <a:r>
              <a:rPr lang="en-US" dirty="0" smtClean="0"/>
              <a:t>structure/guidelines  that will provide the support for successful incubation of  an idea .</a:t>
            </a:r>
          </a:p>
          <a:p>
            <a:endParaRPr lang="en-US" dirty="0"/>
          </a:p>
          <a:p>
            <a:r>
              <a:rPr lang="en-US" dirty="0" smtClean="0"/>
              <a:t>The following read only slides   delivers repetition  from previous  innovation incubators as well  as  some  thought on </a:t>
            </a:r>
            <a:r>
              <a:rPr lang="en-US" dirty="0"/>
              <a:t> </a:t>
            </a:r>
            <a:r>
              <a:rPr lang="en-US" dirty="0" smtClean="0"/>
              <a:t>shifting leadership behavior to strengthen  the challenge for innovation at FDO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15249C-900A-4B53-AA53-B7EBEB72B65A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798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15249C-900A-4B53-AA53-B7EBEB72B65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600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001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McK Title Elements" hidden="1"/>
          <p:cNvGrpSpPr/>
          <p:nvPr userDrawn="1"/>
        </p:nvGrpSpPr>
        <p:grpSpPr>
          <a:xfrm>
            <a:off x="153986" y="5307469"/>
            <a:ext cx="3351211" cy="1304925"/>
            <a:chOff x="153988" y="5307469"/>
            <a:chExt cx="3351211" cy="130492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ltGray">
            <a:xfrm>
              <a:off x="153988" y="5307469"/>
              <a:ext cx="3351211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ltGray">
            <a:xfrm>
              <a:off x="153989" y="5575757"/>
              <a:ext cx="3351210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ltGray">
            <a:xfrm>
              <a:off x="153989" y="6488569"/>
              <a:ext cx="2097088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l" defTabSz="804863" eaLnBrk="0" hangingPunct="0"/>
              <a:r>
                <a:rPr lang="en-US" sz="800" baseline="0" noProof="0" dirty="0">
                  <a:solidFill>
                    <a:schemeClr val="bg1"/>
                  </a:solidFill>
                  <a:latin typeface="+mn-lt"/>
                </a:rPr>
                <a:t>CONFIDENTIAL AND </a:t>
              </a:r>
              <a:r>
                <a:rPr lang="en-US" sz="800" baseline="0" noProof="0" dirty="0" smtClean="0">
                  <a:solidFill>
                    <a:schemeClr val="bg1"/>
                  </a:solidFill>
                  <a:latin typeface="+mn-lt"/>
                </a:rPr>
                <a:t>PROPRIETARY</a:t>
              </a:r>
              <a:endParaRPr lang="en-US" sz="800" baseline="0" noProof="0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062" y="230188"/>
            <a:ext cx="8618537" cy="301621"/>
          </a:xfrm>
        </p:spPr>
        <p:txBody>
          <a:bodyPr/>
          <a:lstStyle>
            <a:lvl1pPr>
              <a:defRPr sz="196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6317" y="2519678"/>
            <a:ext cx="4302125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8073" y="567356"/>
            <a:ext cx="7740131" cy="1066968"/>
          </a:xfrm>
        </p:spPr>
        <p:txBody>
          <a:bodyPr>
            <a:noAutofit/>
          </a:bodyPr>
          <a:lstStyle>
            <a:lvl1pPr marL="0" indent="0">
              <a:buNone/>
              <a:defRPr sz="4704" b="1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18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3F559FD0-3675-4984-A8B6-F3A4181A2FC4}" type="datetime1">
              <a:rPr lang="en-US" smtClean="0"/>
              <a:t>4/1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66AADED6-A726-44B0-BC45-E3E4DA85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0125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0B729FF5-EFCB-4B2C-BE95-833827BA7966}" type="datetime1">
              <a:rPr lang="en-US" smtClean="0"/>
              <a:t>4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66AADED6-A726-44B0-BC45-E3E4DA85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7971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276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568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7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22" y="321361"/>
            <a:ext cx="2208668" cy="110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6" descr="C:\Users\Krishnakumar Krish\Desktop\DO NOT DELETE\2014\June\03\logo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16"/>
          <a:stretch/>
        </p:blipFill>
        <p:spPr bwMode="auto">
          <a:xfrm>
            <a:off x="2363715" y="290513"/>
            <a:ext cx="2468561" cy="1056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 userDrawn="1"/>
        </p:nvGrpSpPr>
        <p:grpSpPr bwMode="ltGray">
          <a:xfrm>
            <a:off x="3174" y="1518132"/>
            <a:ext cx="8958264" cy="5203343"/>
            <a:chOff x="3174" y="1518132"/>
            <a:chExt cx="8958264" cy="5203343"/>
          </a:xfrm>
        </p:grpSpPr>
        <p:pic>
          <p:nvPicPr>
            <p:cNvPr id="23" name="Picture 38"/>
            <p:cNvPicPr>
              <a:picLocks noChangeAspect="1" noChangeArrowheads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46153"/>
            <a:stretch/>
          </p:blipFill>
          <p:spPr bwMode="ltGray">
            <a:xfrm>
              <a:off x="3174" y="1518132"/>
              <a:ext cx="8958264" cy="27345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Picture 38"/>
            <p:cNvPicPr>
              <a:picLocks noChangeAspect="1" noChangeArrowheads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45818" b="46153"/>
            <a:stretch/>
          </p:blipFill>
          <p:spPr bwMode="ltGray">
            <a:xfrm>
              <a:off x="3174" y="3953933"/>
              <a:ext cx="8958264" cy="27675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" name="McK Title Elements" hidden="1"/>
          <p:cNvGrpSpPr/>
          <p:nvPr userDrawn="1"/>
        </p:nvGrpSpPr>
        <p:grpSpPr bwMode="auto">
          <a:xfrm>
            <a:off x="153986" y="5307469"/>
            <a:ext cx="3351211" cy="1304925"/>
            <a:chOff x="153988" y="5307469"/>
            <a:chExt cx="3351211" cy="130492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53988" y="5307469"/>
              <a:ext cx="3351211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53989" y="5575757"/>
              <a:ext cx="3351210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153989" y="6488569"/>
              <a:ext cx="2097088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l" defTabSz="804863" eaLnBrk="0" hangingPunct="0"/>
              <a:r>
                <a:rPr lang="en-US" sz="800" baseline="0" noProof="0" dirty="0">
                  <a:solidFill>
                    <a:schemeClr val="bg1"/>
                  </a:solidFill>
                  <a:latin typeface="+mn-lt"/>
                </a:rPr>
                <a:t>CONFIDENTIAL AND </a:t>
              </a:r>
              <a:r>
                <a:rPr lang="en-US" sz="800" baseline="0" noProof="0" dirty="0" smtClean="0">
                  <a:solidFill>
                    <a:schemeClr val="bg1"/>
                  </a:solidFill>
                  <a:latin typeface="+mn-lt"/>
                </a:rPr>
                <a:t>PROPRIETARY</a:t>
              </a:r>
              <a:endParaRPr lang="en-US" sz="800" baseline="0" noProof="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153986" y="3200400"/>
            <a:ext cx="574437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153986" y="4361656"/>
            <a:ext cx="3808413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5432" name="Picture 72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547"/>
          <a:stretch/>
        </p:blipFill>
        <p:spPr bwMode="ltGray">
          <a:xfrm>
            <a:off x="2832101" y="4577100"/>
            <a:ext cx="6129338" cy="2144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10721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0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98" name="Picture 38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4" y="1651136"/>
            <a:ext cx="8958264" cy="5078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6" descr="C:\Users\Krishnakumar Krish\Desktop\DO NOT DELETE\2014\June\03\logo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6" y="382948"/>
            <a:ext cx="4606925" cy="1056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McK Title Elements" hidden="1"/>
          <p:cNvGrpSpPr/>
          <p:nvPr userDrawn="1"/>
        </p:nvGrpSpPr>
        <p:grpSpPr>
          <a:xfrm>
            <a:off x="153986" y="5307469"/>
            <a:ext cx="3351211" cy="1304925"/>
            <a:chOff x="153988" y="5307469"/>
            <a:chExt cx="3351211" cy="130492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ltGray">
            <a:xfrm>
              <a:off x="153988" y="5307469"/>
              <a:ext cx="3351211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ltGray">
            <a:xfrm>
              <a:off x="153989" y="5575757"/>
              <a:ext cx="3351210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ltGray">
            <a:xfrm>
              <a:off x="153989" y="6488569"/>
              <a:ext cx="2097088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l" defTabSz="804863" eaLnBrk="0" hangingPunct="0"/>
              <a:r>
                <a:rPr lang="en-US" sz="800" baseline="0" noProof="0" dirty="0">
                  <a:solidFill>
                    <a:schemeClr val="bg1"/>
                  </a:solidFill>
                  <a:latin typeface="+mn-lt"/>
                </a:rPr>
                <a:t>CONFIDENTIAL AND </a:t>
              </a:r>
              <a:r>
                <a:rPr lang="en-US" sz="800" baseline="0" noProof="0" dirty="0" smtClean="0">
                  <a:solidFill>
                    <a:schemeClr val="bg1"/>
                  </a:solidFill>
                  <a:latin typeface="+mn-lt"/>
                </a:rPr>
                <a:t>PROPRIETARY</a:t>
              </a:r>
              <a:endParaRPr lang="en-US" sz="800" baseline="0" noProof="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ltGray">
          <a:xfrm>
            <a:off x="153986" y="3200400"/>
            <a:ext cx="574437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ltGray">
          <a:xfrm>
            <a:off x="153986" y="4361656"/>
            <a:ext cx="3808413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3" name="Rectangle 4"/>
          <p:cNvSpPr txBox="1"/>
          <p:nvPr userDrawn="1"/>
        </p:nvSpPr>
        <p:spPr>
          <a:xfrm>
            <a:off x="58736" y="52720"/>
            <a:ext cx="135453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/>
              <a:t>PRELIMINARY DRAFT</a:t>
            </a:r>
            <a:endParaRPr lang="en-US" sz="1000" b="1" dirty="0"/>
          </a:p>
        </p:txBody>
      </p:sp>
      <p:sp>
        <p:nvSpPr>
          <p:cNvPr id="17" name="Rectangle 4"/>
          <p:cNvSpPr txBox="1"/>
          <p:nvPr userDrawn="1"/>
        </p:nvSpPr>
        <p:spPr>
          <a:xfrm>
            <a:off x="5471319" y="44895"/>
            <a:ext cx="344004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/>
              <a:t>PRE-DECISIONAL - PROPRIETARY AND CONFIDENTIAL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537236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6317" y="2519678"/>
            <a:ext cx="4302125" cy="1231106"/>
          </a:xfrm>
        </p:spPr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09897" y="6180023"/>
            <a:ext cx="2091002" cy="466769"/>
          </a:xfrm>
          <a:prstGeom prst="rect">
            <a:avLst/>
          </a:prstGeom>
        </p:spPr>
        <p:txBody>
          <a:bodyPr/>
          <a:lstStyle>
            <a:extLst/>
          </a:lstStyle>
          <a:p>
            <a:fld id="{1998E9EE-A533-471E-804A-FF8E24DC5E81}" type="datetime1">
              <a:rPr lang="en-US" smtClean="0"/>
              <a:pPr/>
              <a:t>4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600899" y="6180023"/>
            <a:ext cx="2837789" cy="466769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1675" y="6180023"/>
            <a:ext cx="448072" cy="466769"/>
          </a:xfrm>
          <a:prstGeom prst="rect">
            <a:avLst/>
          </a:prstGeom>
        </p:spPr>
        <p:txBody>
          <a:bodyPr/>
          <a:lstStyle>
            <a:extLst/>
          </a:lstStyle>
          <a:p>
            <a:fld id="{69F93396-6DF9-4781-8CD2-81E75C0B08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4151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062" y="230188"/>
            <a:ext cx="8618537" cy="301621"/>
          </a:xfrm>
        </p:spPr>
        <p:txBody>
          <a:bodyPr/>
          <a:lstStyle>
            <a:lvl1pPr>
              <a:defRPr sz="196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6317" y="2519678"/>
            <a:ext cx="4302125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8073" y="567356"/>
            <a:ext cx="7740131" cy="1066968"/>
          </a:xfrm>
        </p:spPr>
        <p:txBody>
          <a:bodyPr>
            <a:noAutofit/>
          </a:bodyPr>
          <a:lstStyle>
            <a:lvl1pPr marL="0" indent="0">
              <a:buNone/>
              <a:defRPr sz="4704" b="1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385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062" y="230188"/>
            <a:ext cx="8618537" cy="301621"/>
          </a:xfrm>
        </p:spPr>
        <p:txBody>
          <a:bodyPr/>
          <a:lstStyle>
            <a:lvl1pPr>
              <a:defRPr sz="196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6317" y="2519678"/>
            <a:ext cx="4302125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8073" y="567356"/>
            <a:ext cx="7740131" cy="1066968"/>
          </a:xfrm>
        </p:spPr>
        <p:txBody>
          <a:bodyPr>
            <a:noAutofit/>
          </a:bodyPr>
          <a:lstStyle>
            <a:lvl1pPr marL="0" indent="0">
              <a:buNone/>
              <a:defRPr sz="4704" b="1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711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973748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641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Picture 12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96317" y="2519678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2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2" y="1746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296317" y="1955958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7981955" y="288925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73980" y="288925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678649" y="288925"/>
            <a:ext cx="1066894" cy="212366"/>
            <a:chOff x="7673881" y="285750"/>
            <a:chExt cx="1066894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7915113" y="288925"/>
            <a:ext cx="830430" cy="1306516"/>
            <a:chOff x="7769225" y="2105025"/>
            <a:chExt cx="830430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58" name="Pentagon 3"/>
          <p:cNvSpPr/>
          <p:nvPr/>
        </p:nvSpPr>
        <p:spPr bwMode="ltGray">
          <a:xfrm>
            <a:off x="0" y="6338889"/>
            <a:ext cx="7844962" cy="422275"/>
          </a:xfrm>
          <a:custGeom>
            <a:avLst/>
            <a:gdLst/>
            <a:ahLst/>
            <a:cxnLst/>
            <a:rect l="l" t="t" r="r" b="b"/>
            <a:pathLst>
              <a:path w="7844962" h="422275">
                <a:moveTo>
                  <a:pt x="0" y="0"/>
                </a:moveTo>
                <a:lnTo>
                  <a:pt x="5791201" y="0"/>
                </a:lnTo>
                <a:lnTo>
                  <a:pt x="7305675" y="0"/>
                </a:lnTo>
                <a:lnTo>
                  <a:pt x="7459835" y="0"/>
                </a:lnTo>
                <a:lnTo>
                  <a:pt x="7844962" y="385127"/>
                </a:lnTo>
                <a:lnTo>
                  <a:pt x="7834484" y="395605"/>
                </a:lnTo>
                <a:lnTo>
                  <a:pt x="2" y="395605"/>
                </a:lnTo>
                <a:lnTo>
                  <a:pt x="2" y="422275"/>
                </a:lnTo>
                <a:lnTo>
                  <a:pt x="0" y="422275"/>
                </a:lnTo>
                <a:close/>
              </a:path>
            </a:pathLst>
          </a:custGeom>
          <a:solidFill>
            <a:srgbClr val="32557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59" name="Picture 2" descr="State of Florida Department of Transportation logo - link to the FDOT website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5169" y="6320808"/>
            <a:ext cx="774019" cy="342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2" y="6148424"/>
            <a:ext cx="7300911" cy="473078"/>
            <a:chOff x="75" y="3873"/>
            <a:chExt cx="162" cy="29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3"/>
              <a:ext cx="162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74"/>
              <a:ext cx="151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900" indent="-469900" defTabSz="895350">
                <a:tabLst>
                  <a:tab pos="469900" algn="l"/>
                </a:tabLst>
              </a:pPr>
              <a:r>
                <a:rPr lang="en-US" sz="1000" baseline="0" noProof="0" dirty="0" smtClean="0">
                  <a:solidFill>
                    <a:schemeClr val="bg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0" name="Slide Number Placeholder 1"/>
          <p:cNvSpPr txBox="1">
            <a:spLocks/>
          </p:cNvSpPr>
          <p:nvPr/>
        </p:nvSpPr>
        <p:spPr bwMode="auto">
          <a:xfrm>
            <a:off x="7262879" y="646835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2C328C1-A84F-4A39-A664-DBA00541A8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64" r:id="rId3"/>
    <p:sldLayoutId id="2147483666" r:id="rId4"/>
    <p:sldLayoutId id="2147483668" r:id="rId5"/>
    <p:sldLayoutId id="2147483667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/url?sa=i&amp;rct=j&amp;q=&amp;esrc=s&amp;source=images&amp;cd=&amp;cad=rja&amp;uact=8&amp;ved=0CAcQjRw&amp;url=http://www.qwin.com.au/past-q-win-forums&amp;ei=Dg6OVOWVHM_9gwThsILAAQ&amp;bvm=bv.81828268,d.eXY&amp;psig=AFQjCNFSF0UgSEhjnwcJfDbS7mDnPuaRkQ&amp;ust=1418682189936452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870436" y="6422561"/>
            <a:ext cx="1269537" cy="74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/>
          </a:p>
        </p:txBody>
      </p:sp>
      <p:pic>
        <p:nvPicPr>
          <p:cNvPr id="8" name="Picture 4" descr="https://encrypted-tbn0.gstatic.com/images?q=tbn:ANd9GcTY-4mgB04sREoOe96usPHRTDEU8emClA07u3_f6-ow4g2l2jZW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98"/>
            <a:ext cx="8961437" cy="672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2699" y="198741"/>
            <a:ext cx="8963544" cy="6955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20" b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FDOT- an Innovation Community</a:t>
            </a:r>
            <a:endParaRPr lang="en-US" sz="3920" b="1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6070" y="5335219"/>
            <a:ext cx="5727337" cy="11831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744" b="1" i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o the MPOAC</a:t>
            </a:r>
          </a:p>
          <a:p>
            <a:r>
              <a:rPr lang="en-US" sz="2744" b="1" i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wide Innovators! Task Team</a:t>
            </a:r>
          </a:p>
          <a:p>
            <a:r>
              <a:rPr lang="en-US" b="1" i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il 2015</a:t>
            </a:r>
            <a:endParaRPr lang="en-US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6965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7"/>
            <a:ext cx="8618537" cy="492443"/>
          </a:xfrm>
        </p:spPr>
        <p:txBody>
          <a:bodyPr/>
          <a:lstStyle/>
          <a:p>
            <a:r>
              <a:rPr lang="en-US" sz="3200" dirty="0" smtClean="0"/>
              <a:t>Statewide Innovators</a:t>
            </a:r>
            <a:r>
              <a:rPr lang="en-US" sz="3200" dirty="0"/>
              <a:t>! Charter</a:t>
            </a:r>
          </a:p>
        </p:txBody>
      </p:sp>
      <p:sp>
        <p:nvSpPr>
          <p:cNvPr id="3" name="Rectangle 3"/>
          <p:cNvSpPr txBox="1"/>
          <p:nvPr/>
        </p:nvSpPr>
        <p:spPr>
          <a:xfrm>
            <a:off x="374074" y="1090271"/>
            <a:ext cx="8363526" cy="4185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Team Created by Secretary of Depart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Task Team will:</a:t>
            </a:r>
            <a:endParaRPr lang="en-US" sz="2400" dirty="0"/>
          </a:p>
          <a:p>
            <a:pPr lvl="4"/>
            <a:r>
              <a:rPr lang="en-US" sz="2000" dirty="0"/>
              <a:t>Collect B/I ideas</a:t>
            </a:r>
          </a:p>
          <a:p>
            <a:pPr lvl="4"/>
            <a:r>
              <a:rPr lang="en-US" sz="2000" dirty="0"/>
              <a:t>Analyze - determine those with ROI potential</a:t>
            </a:r>
          </a:p>
          <a:p>
            <a:pPr lvl="4"/>
            <a:r>
              <a:rPr lang="en-US" sz="2000" dirty="0" smtClean="0"/>
              <a:t>Develop a process </a:t>
            </a:r>
          </a:p>
          <a:p>
            <a:pPr lvl="4"/>
            <a:r>
              <a:rPr lang="en-US" sz="2000" dirty="0" smtClean="0"/>
              <a:t>Aggressively </a:t>
            </a:r>
            <a:r>
              <a:rPr lang="en-US" sz="2000" dirty="0"/>
              <a:t>imple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Look for bold leap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Develop &amp; Monitor </a:t>
            </a:r>
            <a:r>
              <a:rPr lang="en-US" sz="2400" dirty="0"/>
              <a:t>real and measurable </a:t>
            </a:r>
            <a:r>
              <a:rPr lang="en-US" sz="2400" dirty="0" smtClean="0"/>
              <a:t>improveme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Share information with all state stakeholders</a:t>
            </a:r>
            <a:endParaRPr lang="en-US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Innovators! = cross functional team of senior </a:t>
            </a:r>
            <a:r>
              <a:rPr lang="en-US" sz="2400" dirty="0" smtClean="0"/>
              <a:t>lead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Push innovation to all levels of the agency through employee engagemen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800292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>What Type of Idea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1060" y="1253984"/>
            <a:ext cx="7990615" cy="5078148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We </a:t>
            </a:r>
            <a:r>
              <a:rPr lang="en-US" sz="2400" dirty="0"/>
              <a:t>want ideas – internal or external – that:</a:t>
            </a:r>
          </a:p>
          <a:p>
            <a:pPr marL="549275" lvl="2" indent="-285750">
              <a:buSzTx/>
              <a:buFont typeface="Wingdings" panose="05000000000000000000" pitchFamily="2" charset="2"/>
              <a:buChar char="ü"/>
            </a:pPr>
            <a:r>
              <a:rPr lang="en-US" sz="2000" dirty="0" smtClean="0"/>
              <a:t>Bring dramatic as opposed to incremental change</a:t>
            </a:r>
          </a:p>
          <a:p>
            <a:pPr marL="549275" lvl="2" indent="-285750">
              <a:buSzTx/>
              <a:buFont typeface="Wingdings" panose="05000000000000000000" pitchFamily="2" charset="2"/>
              <a:buChar char="ü"/>
            </a:pPr>
            <a:r>
              <a:rPr lang="en-US" sz="2000" dirty="0" smtClean="0"/>
              <a:t>Improve the product for our customer</a:t>
            </a:r>
          </a:p>
          <a:p>
            <a:pPr marL="549275" lvl="2" indent="-285750">
              <a:buSzTx/>
              <a:buFont typeface="Wingdings" panose="05000000000000000000" pitchFamily="2" charset="2"/>
              <a:buChar char="ü"/>
            </a:pPr>
            <a:r>
              <a:rPr lang="en-US" sz="2000" dirty="0" smtClean="0"/>
              <a:t>Make us more efficient /effective at doing our jobs</a:t>
            </a:r>
          </a:p>
          <a:p>
            <a:pPr marL="549275" lvl="2" indent="-285750">
              <a:buSzTx/>
              <a:buFont typeface="Wingdings" panose="05000000000000000000" pitchFamily="2" charset="2"/>
              <a:buChar char="ü"/>
            </a:pPr>
            <a:r>
              <a:rPr lang="en-US" sz="2000" dirty="0" smtClean="0"/>
              <a:t>Eliminate activities that no longer provide value</a:t>
            </a:r>
          </a:p>
          <a:p>
            <a:pPr marL="549275" lvl="2" indent="-285750">
              <a:buSzTx/>
              <a:buFont typeface="Wingdings" panose="05000000000000000000" pitchFamily="2" charset="2"/>
              <a:buChar char="ü"/>
            </a:pPr>
            <a:r>
              <a:rPr lang="en-US" sz="2000" dirty="0" smtClean="0"/>
              <a:t>Help us become efficient and effective with new technologies available</a:t>
            </a:r>
          </a:p>
          <a:p>
            <a:pPr marL="285750" lvl="1" indent="-285750">
              <a:buSzTx/>
              <a:buFont typeface="Arial" panose="020B0604020202020204" pitchFamily="34" charset="0"/>
              <a:buChar char="•"/>
            </a:pPr>
            <a:r>
              <a:rPr lang="en-US" sz="2400" dirty="0"/>
              <a:t>While we want candor, we are not looking for anonymous griping</a:t>
            </a:r>
          </a:p>
          <a:p>
            <a:pPr marL="285750" lvl="1" indent="-285750">
              <a:buSzTx/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lvl="1"/>
            <a:endParaRPr lang="en-US" sz="2352" dirty="0"/>
          </a:p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729279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2" y="230188"/>
            <a:ext cx="8618537" cy="43088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</a:rPr>
              <a:t>Innov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073" y="1970116"/>
            <a:ext cx="7540458" cy="43088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Statewide Innovation </a:t>
            </a:r>
            <a:r>
              <a:rPr lang="en-US" sz="2400" dirty="0"/>
              <a:t>group created in March 2012</a:t>
            </a:r>
          </a:p>
          <a:p>
            <a:pPr marL="285750" lvl="1" indent="-285750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Bold/or Innovative Ideas</a:t>
            </a:r>
          </a:p>
          <a:p>
            <a:pPr marL="549275" lvl="2" indent="-285750">
              <a:buSzTx/>
              <a:buFont typeface="Wingdings" panose="05000000000000000000" pitchFamily="2" charset="2"/>
              <a:buChar char="ü"/>
            </a:pPr>
            <a:r>
              <a:rPr lang="en-US" sz="2000" u="sng" dirty="0" smtClean="0"/>
              <a:t>150 Ideas </a:t>
            </a:r>
            <a:r>
              <a:rPr lang="en-US" sz="2000" dirty="0" smtClean="0"/>
              <a:t>submitted from FDOT Employees </a:t>
            </a:r>
            <a:r>
              <a:rPr lang="en-US" sz="2000" dirty="0"/>
              <a:t>(27  defined as “high priority”) </a:t>
            </a:r>
            <a:endParaRPr lang="en-US" sz="2000" dirty="0" smtClean="0"/>
          </a:p>
          <a:p>
            <a:pPr lvl="4"/>
            <a:r>
              <a:rPr lang="en-US" sz="1800" dirty="0" smtClean="0"/>
              <a:t>31  </a:t>
            </a:r>
            <a:r>
              <a:rPr lang="en-US" sz="1800" dirty="0"/>
              <a:t>complete (includes </a:t>
            </a:r>
            <a:r>
              <a:rPr lang="en-US" sz="1800" dirty="0" smtClean="0"/>
              <a:t>13 </a:t>
            </a:r>
            <a:r>
              <a:rPr lang="en-US" sz="1800" dirty="0"/>
              <a:t>high priority)</a:t>
            </a:r>
          </a:p>
          <a:p>
            <a:pPr lvl="4"/>
            <a:r>
              <a:rPr lang="en-US" sz="1800" dirty="0" smtClean="0"/>
              <a:t>33 underway </a:t>
            </a:r>
            <a:r>
              <a:rPr lang="en-US" sz="1800" dirty="0"/>
              <a:t>(includes 13 high priority</a:t>
            </a:r>
            <a:r>
              <a:rPr lang="en-US" sz="1800" dirty="0" smtClean="0"/>
              <a:t>)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en-US" sz="2000" u="sng" dirty="0" smtClean="0"/>
              <a:t>Over 170 ideas </a:t>
            </a:r>
            <a:r>
              <a:rPr lang="en-US" sz="2000" dirty="0" smtClean="0"/>
              <a:t>submitted by our contracting/consulting partners.  SW Task Team are reviewing ideas submitted.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 smtClean="0"/>
              <a:t>Next Step will be to survey FDOT’s MPOs via a short survey</a:t>
            </a:r>
          </a:p>
          <a:p>
            <a:pPr marL="1587" lvl="1" indent="0">
              <a:buNone/>
            </a:pPr>
            <a:r>
              <a:rPr lang="en-US" sz="1800" dirty="0" smtClean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549275" lvl="2" indent="-285750">
              <a:buSzTx/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rogress to date…</a:t>
            </a:r>
          </a:p>
        </p:txBody>
      </p:sp>
    </p:spTree>
    <p:extLst>
      <p:ext uri="{BB962C8B-B14F-4D97-AF65-F5344CB8AC3E}">
        <p14:creationId xmlns:p14="http://schemas.microsoft.com/office/powerpoint/2010/main" val="2405548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>Idea Generation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0452" y="1217015"/>
            <a:ext cx="7843686" cy="3529552"/>
          </a:xfrm>
        </p:spPr>
        <p:txBody>
          <a:bodyPr>
            <a:normAutofit lnSpcReduction="10000"/>
          </a:bodyPr>
          <a:lstStyle/>
          <a:p>
            <a:pPr lvl="0">
              <a:defRPr/>
            </a:pPr>
            <a:r>
              <a:rPr lang="en-US" sz="2400" dirty="0"/>
              <a:t>In order to get ahead, you need great ideas - </a:t>
            </a:r>
            <a:r>
              <a:rPr lang="en-US" sz="2400" i="1" dirty="0"/>
              <a:t>lots</a:t>
            </a:r>
            <a:r>
              <a:rPr lang="en-US" sz="2400" dirty="0"/>
              <a:t> of great ideas. To get the best ideas, turn your business into an idea machine. Nurture a constant flow of ideas from every level of your organization - not just your top managers. The only way to foster such idea-sharing is to develop a culture of candor, where people aren't afraid to speak their minds. Reward them for their candor, even if it makes themselves and others - yes, </a:t>
            </a:r>
            <a:r>
              <a:rPr lang="en-US" sz="2400" i="1" dirty="0"/>
              <a:t>you</a:t>
            </a:r>
            <a:r>
              <a:rPr lang="en-US" sz="2400" dirty="0"/>
              <a:t> - look bad. </a:t>
            </a:r>
          </a:p>
          <a:p>
            <a:pPr lvl="0">
              <a:defRPr/>
            </a:pPr>
            <a:endParaRPr lang="en-US" sz="2744" dirty="0"/>
          </a:p>
          <a:p>
            <a:pPr lvl="0" algn="ctr">
              <a:defRPr/>
            </a:pPr>
            <a:r>
              <a:rPr lang="en-US" sz="2000" dirty="0"/>
              <a:t>Jack Welch</a:t>
            </a:r>
          </a:p>
          <a:p>
            <a:endParaRPr lang="en-US" dirty="0" smtClean="0"/>
          </a:p>
          <a:p>
            <a:pPr lvl="1"/>
            <a:endParaRPr lang="en-US" sz="2352" dirty="0"/>
          </a:p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4018451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00" y="238601"/>
            <a:ext cx="2713324" cy="2016323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" name="Rectangle 4"/>
          <p:cNvSpPr/>
          <p:nvPr/>
        </p:nvSpPr>
        <p:spPr>
          <a:xfrm>
            <a:off x="3061825" y="295366"/>
            <a:ext cx="5730341" cy="1458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980"/>
              </a:spcAft>
            </a:pPr>
            <a:r>
              <a:rPr lang="en-US" sz="1568" dirty="0">
                <a:solidFill>
                  <a:srgbClr val="292F33"/>
                </a:solidFill>
                <a:latin typeface="Helvetica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ver be afraid to try something new. Remember, </a:t>
            </a:r>
            <a:r>
              <a:rPr lang="en-US" sz="1568" i="1" dirty="0">
                <a:solidFill>
                  <a:srgbClr val="292F33"/>
                </a:solidFill>
                <a:latin typeface="Helvetica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ateurs</a:t>
            </a:r>
            <a:r>
              <a:rPr lang="en-US" sz="1568" dirty="0">
                <a:solidFill>
                  <a:srgbClr val="292F33"/>
                </a:solidFill>
                <a:latin typeface="Helvetica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uilt the ark. </a:t>
            </a:r>
            <a:r>
              <a:rPr lang="en-US" sz="1568" i="1" dirty="0">
                <a:solidFill>
                  <a:srgbClr val="292F33"/>
                </a:solidFill>
                <a:latin typeface="Helvetica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fessionals</a:t>
            </a:r>
            <a:r>
              <a:rPr lang="en-US" sz="1568" dirty="0">
                <a:solidFill>
                  <a:srgbClr val="292F33"/>
                </a:solidFill>
                <a:latin typeface="Helvetica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uilt the Titanic.</a:t>
            </a:r>
            <a:endParaRPr lang="en-US" sz="1568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980"/>
              </a:spcAft>
            </a:pPr>
            <a:r>
              <a:rPr lang="en-US" sz="1568" dirty="0">
                <a:solidFill>
                  <a:srgbClr val="292F33"/>
                </a:solidFill>
                <a:latin typeface="Aharoni" panose="02010803020104030203" pitchFamily="2" charset="-79"/>
                <a:ea typeface="Calibri" panose="020F0502020204030204" pitchFamily="34" charset="0"/>
                <a:cs typeface="Aharoni" panose="02010803020104030203" pitchFamily="2" charset="-79"/>
              </a:rPr>
              <a:t>Everyone you will ever meet knows something you don't.</a:t>
            </a:r>
            <a:endParaRPr lang="en-US" sz="1568" dirty="0">
              <a:latin typeface="Aharoni" panose="02010803020104030203" pitchFamily="2" charset="-79"/>
              <a:ea typeface="Calibri" panose="020F0502020204030204" pitchFamily="34" charset="0"/>
              <a:cs typeface="Aharoni" panose="02010803020104030203" pitchFamily="2" charset="-79"/>
            </a:endParaRPr>
          </a:p>
          <a:p>
            <a:pPr>
              <a:lnSpc>
                <a:spcPct val="115000"/>
              </a:lnSpc>
              <a:spcAft>
                <a:spcPts val="980"/>
              </a:spcAft>
            </a:pPr>
            <a:r>
              <a:rPr lang="en-US" sz="1568" dirty="0">
                <a:solidFill>
                  <a:srgbClr val="292F33"/>
                </a:solidFill>
                <a:latin typeface="Helvetica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n't be afraid to give up the good and go for the great.</a:t>
            </a:r>
            <a:endParaRPr lang="en-US" sz="1568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9400" y="3082478"/>
            <a:ext cx="8662723" cy="2814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  <a:spcAft>
                <a:spcPts val="980"/>
              </a:spcAft>
            </a:pPr>
            <a:r>
              <a:rPr lang="en-US" sz="1568" dirty="0">
                <a:solidFill>
                  <a:srgbClr val="292F33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reat things never came from comfort zones</a:t>
            </a:r>
            <a:endParaRPr lang="en-US" sz="1568" dirty="0">
              <a:latin typeface="Bookman Old Style" panose="0205060405050502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980"/>
              </a:spcAft>
            </a:pPr>
            <a:r>
              <a:rPr lang="en-US" sz="1568" dirty="0">
                <a:solidFill>
                  <a:srgbClr val="292F33"/>
                </a:solidFill>
                <a:latin typeface="Californian FB" panose="0207040306080B03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very good thing that has happened in your life happened because something changed!</a:t>
            </a:r>
            <a:endParaRPr lang="en-US" sz="1568" dirty="0">
              <a:latin typeface="Californian FB" panose="0207040306080B0302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980"/>
              </a:spcAft>
            </a:pPr>
            <a:r>
              <a:rPr lang="en-US" sz="2352" dirty="0">
                <a:solidFill>
                  <a:srgbClr val="292F33"/>
                </a:solidFill>
                <a:latin typeface="Aharoni" panose="02010803020104030203" pitchFamily="2" charset="-79"/>
                <a:ea typeface="Calibri" panose="020F0502020204030204" pitchFamily="34" charset="0"/>
                <a:cs typeface="Aharoni" panose="02010803020104030203" pitchFamily="2" charset="-79"/>
              </a:rPr>
              <a:t>I'd rather have a life of 'OH WELLS' than a life of 'WHAT IFS.' </a:t>
            </a:r>
            <a:endParaRPr lang="en-US" sz="2352" dirty="0">
              <a:latin typeface="Aharoni" panose="02010803020104030203" pitchFamily="2" charset="-79"/>
              <a:ea typeface="Calibri" panose="020F0502020204030204" pitchFamily="34" charset="0"/>
              <a:cs typeface="Aharoni" panose="02010803020104030203" pitchFamily="2" charset="-79"/>
            </a:endParaRPr>
          </a:p>
          <a:p>
            <a:pPr>
              <a:lnSpc>
                <a:spcPct val="115000"/>
              </a:lnSpc>
              <a:spcAft>
                <a:spcPts val="980"/>
              </a:spcAft>
            </a:pPr>
            <a:r>
              <a:rPr lang="en-US" sz="1568" dirty="0">
                <a:solidFill>
                  <a:srgbClr val="292F33"/>
                </a:solidFill>
                <a:latin typeface="Sakkal Majalla" panose="02000000000000000000" pitchFamily="2" charset="-78"/>
                <a:ea typeface="Calibri" panose="020F0502020204030204" pitchFamily="34" charset="0"/>
                <a:cs typeface="Sakkal Majalla" panose="02000000000000000000" pitchFamily="2" charset="-78"/>
              </a:rPr>
              <a:t>Twenty years from now you will be more disappointed by the things that you didn't do than by the ones you did do.</a:t>
            </a:r>
            <a:endParaRPr lang="en-US" sz="1568" dirty="0">
              <a:latin typeface="Sakkal Majalla" panose="02000000000000000000" pitchFamily="2" charset="-78"/>
              <a:ea typeface="Calibri" panose="020F0502020204030204" pitchFamily="34" charset="0"/>
              <a:cs typeface="Sakkal Majalla" panose="02000000000000000000" pitchFamily="2" charset="-78"/>
            </a:endParaRPr>
          </a:p>
          <a:p>
            <a:pPr>
              <a:lnSpc>
                <a:spcPct val="115000"/>
              </a:lnSpc>
              <a:spcAft>
                <a:spcPts val="980"/>
              </a:spcAft>
            </a:pPr>
            <a:r>
              <a:rPr lang="en-US" sz="1568" dirty="0">
                <a:solidFill>
                  <a:srgbClr val="292F33"/>
                </a:solidFill>
                <a:latin typeface="Stencil" panose="040409050D0802020404" pitchFamily="82" charset="0"/>
                <a:ea typeface="Calibri" panose="020F0502020204030204" pitchFamily="34" charset="0"/>
                <a:cs typeface="Times New Roman" panose="02020603050405020304" pitchFamily="18" charset="0"/>
              </a:rPr>
              <a:t>Not everything that is faced can be changed, but nothing can be changed until it is faced. -Lucille Ball</a:t>
            </a:r>
            <a:endParaRPr lang="en-US" sz="1568" dirty="0">
              <a:latin typeface="Stencil" panose="040409050D0802020404" pitchFamily="8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980"/>
              </a:spcAft>
            </a:pPr>
            <a:r>
              <a:rPr lang="en-US" sz="1568" dirty="0">
                <a:solidFill>
                  <a:srgbClr val="292F33"/>
                </a:solidFill>
                <a:latin typeface="Tw Cen MT" panose="020B06020201040206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've failed over &amp; over &amp; over again in my life &amp; that is why I succeed. -Michael Jordan</a:t>
            </a:r>
            <a:endParaRPr lang="en-US" sz="1568" dirty="0">
              <a:latin typeface="Tw Cen MT" panose="020B06020201040206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9443" y="2333590"/>
            <a:ext cx="8797144" cy="680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  <a:spcAft>
                <a:spcPts val="980"/>
              </a:spcAft>
            </a:pPr>
            <a:r>
              <a:rPr lang="en-US" sz="3332" dirty="0">
                <a:solidFill>
                  <a:srgbClr val="292F33"/>
                </a:solidFill>
                <a:latin typeface="Haettenschweiler" panose="020B070604090206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our life is your message to the world. Make sure it's inspiring</a:t>
            </a:r>
            <a:r>
              <a:rPr lang="en-US" sz="2940" dirty="0">
                <a:solidFill>
                  <a:srgbClr val="292F33"/>
                </a:solidFill>
                <a:latin typeface="Haettenschweiler" panose="020B070604090206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940" dirty="0">
              <a:latin typeface="Haettenschweiler" panose="020B070604090206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7739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 txBox="1"/>
          <p:nvPr/>
        </p:nvSpPr>
        <p:spPr>
          <a:xfrm>
            <a:off x="1724056" y="1122683"/>
            <a:ext cx="5513327" cy="444875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3675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344487" lvl="1" indent="-342900">
              <a:spcBef>
                <a:spcPct val="40000"/>
              </a:spcBef>
              <a:buSzPct val="100000"/>
              <a:buFont typeface="+mj-lt"/>
              <a:buAutoNum type="arabicPeriod"/>
            </a:pPr>
            <a:endParaRPr lang="en-US" dirty="0" smtClean="0"/>
          </a:p>
        </p:txBody>
      </p:sp>
      <p:sp>
        <p:nvSpPr>
          <p:cNvPr id="6" name="Rectangle 4"/>
          <p:cNvSpPr txBox="1"/>
          <p:nvPr/>
        </p:nvSpPr>
        <p:spPr>
          <a:xfrm>
            <a:off x="3507969" y="3237627"/>
            <a:ext cx="238930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3675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sz="3200" b="1" dirty="0" smtClean="0">
                <a:solidFill>
                  <a:srgbClr val="000000"/>
                </a:solidFill>
              </a:rPr>
              <a:t>Questions?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3509984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&lt;/m_strFormatTime&gt;&lt;/m_precDefaultWeek&gt;&lt;m_precDefaultDay&gt;&lt;m_bNumberIsYear val=&quot;0&quot;/&gt;&lt;m_strFormatTime&gt;%d&lt;/m_strFormatTime&gt;&lt;/m_precDefaultDay&gt;&lt;m_mruColor&gt;&lt;m_vecMRU length=&quot;3&quot;&gt;&lt;elem m_fUsage=&quot;1.71000000000000000000E+000&quot;&gt;&lt;m_msothmcolidx val=&quot;0&quot;/&gt;&lt;m_rgb r=&quot;ff&quot; g=&quot;20&quot; b=&quot;20&quot;/&gt;&lt;m_ppcolschidx tagver0=&quot;23004&quot; tagname0=&quot;m_ppcolschidxUNRECOGNIZED&quot; val=&quot;0&quot;/&gt;&lt;m_nBrightness val=&quot;0&quot;/&gt;&lt;/elem&gt;&lt;elem m_fUsage=&quot;1.38510000000000000000E+000&quot;&gt;&lt;m_msothmcolidx val=&quot;0&quot;/&gt;&lt;m_rgb r=&quot;e6&quot; g=&quot;e6&quot; b=&quot;e6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1b&quot; g=&quot;9c&quot; b=&quot;7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CJ Jain\Documents\Florida DOT\Study\Phase 3\Workshops\Final Workshop\20150205_FDOT Training_0744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FDOT_CF_XFL001">
  <a:themeElements>
    <a:clrScheme name="Current">
      <a:dk1>
        <a:srgbClr val="000000"/>
      </a:dk1>
      <a:lt1>
        <a:srgbClr val="FFFFFF"/>
      </a:lt1>
      <a:dk2>
        <a:srgbClr val="1C2F44"/>
      </a:dk2>
      <a:lt2>
        <a:srgbClr val="FFFFFF"/>
      </a:lt2>
      <a:accent1>
        <a:srgbClr val="ACC4DE"/>
      </a:accent1>
      <a:accent2>
        <a:srgbClr val="5082B8"/>
      </a:accent2>
      <a:accent3>
        <a:srgbClr val="32557C"/>
      </a:accent3>
      <a:accent4>
        <a:srgbClr val="1C2F44"/>
      </a:accent4>
      <a:accent5>
        <a:srgbClr val="FF0000"/>
      </a:accent5>
      <a:accent6>
        <a:srgbClr val="808080"/>
      </a:accent6>
      <a:hlink>
        <a:srgbClr val="32557C"/>
      </a:hlink>
      <a:folHlink>
        <a:srgbClr val="1C2F4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C2F44"/>
        </a:dk2>
        <a:lt2>
          <a:srgbClr val="FFFFFF"/>
        </a:lt2>
        <a:accent1>
          <a:srgbClr val="ACC4DE"/>
        </a:accent1>
        <a:accent2>
          <a:srgbClr val="5082B8"/>
        </a:accent2>
        <a:accent3>
          <a:srgbClr val="32557C"/>
        </a:accent3>
        <a:accent4>
          <a:srgbClr val="1C2F44"/>
        </a:accent4>
        <a:accent5>
          <a:srgbClr val="FF0000"/>
        </a:accent5>
        <a:accent6>
          <a:srgbClr val="808080"/>
        </a:accent6>
        <a:hlink>
          <a:srgbClr val="32557C"/>
        </a:hlink>
        <a:folHlink>
          <a:srgbClr val="1C2F4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DOT_CF_XFL001</Template>
  <TotalTime>82718</TotalTime>
  <Words>535</Words>
  <Application>Microsoft Office PowerPoint</Application>
  <PresentationFormat>Custom</PresentationFormat>
  <Paragraphs>59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3" baseType="lpstr">
      <vt:lpstr>ＭＳ Ｐゴシック</vt:lpstr>
      <vt:lpstr>Aharoni</vt:lpstr>
      <vt:lpstr>Arial</vt:lpstr>
      <vt:lpstr>Arial Black</vt:lpstr>
      <vt:lpstr>Bookman Old Style</vt:lpstr>
      <vt:lpstr>Calibri</vt:lpstr>
      <vt:lpstr>Californian FB</vt:lpstr>
      <vt:lpstr>Haettenschweiler</vt:lpstr>
      <vt:lpstr>Helvetica</vt:lpstr>
      <vt:lpstr>Sakkal Majalla</vt:lpstr>
      <vt:lpstr>Stencil</vt:lpstr>
      <vt:lpstr>Times New Roman</vt:lpstr>
      <vt:lpstr>Tw Cen MT</vt:lpstr>
      <vt:lpstr>Wingdings</vt:lpstr>
      <vt:lpstr>FDOT_CF_XFL001</vt:lpstr>
      <vt:lpstr>think-cell Slide</vt:lpstr>
      <vt:lpstr>PowerPoint Presentation</vt:lpstr>
      <vt:lpstr>Statewide Innovators! Charter</vt:lpstr>
      <vt:lpstr>What Type of Ideas</vt:lpstr>
      <vt:lpstr>Innovation</vt:lpstr>
      <vt:lpstr>Idea Gener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</dc:title>
  <dc:creator>FDOT</dc:creator>
  <cp:lastModifiedBy>Messina, Brigitte</cp:lastModifiedBy>
  <cp:revision>2425</cp:revision>
  <cp:lastPrinted>2015-03-19T12:33:36Z</cp:lastPrinted>
  <dcterms:created xsi:type="dcterms:W3CDTF">2014-08-27T19:46:19Z</dcterms:created>
  <dcterms:modified xsi:type="dcterms:W3CDTF">2015-04-01T13:4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Office2010WasSaved">
    <vt:lpwstr>1</vt:lpwstr>
  </property>
</Properties>
</file>